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28396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27136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13139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49597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493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1680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163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24365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32264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23145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622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54096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2974938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96064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946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4586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1872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8789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80054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343475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19893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9365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a5784816b30b4fb3ceacc7ee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B77A006C-5419-4544-95A1-49068A9242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769877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pt-BR" sz="1400" b="1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000"/>
              <a:t>Melhorar o desempenho produtiv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3540" y="1376606"/>
            <a:ext cx="7539038" cy="288925"/>
          </a:xfrm>
        </p:spPr>
        <p:txBody>
          <a:bodyPr/>
          <a:lstStyle/>
          <a:p>
            <a:r>
              <a:rPr lang="pt-BR" sz="1800" dirty="0"/>
              <a:t>Correia MCC modular de dosagem de entrada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pt-BR" sz="800" dirty="0"/>
              <a:t>Valor: Eficiência, manutenção</a:t>
            </a:r>
          </a:p>
          <a:p>
            <a:r>
              <a:rPr lang="pt-BR" sz="800" dirty="0"/>
              <a:t>Equipamento: </a:t>
            </a:r>
            <a:r>
              <a:rPr lang="pt-BR" sz="800" dirty="0" err="1"/>
              <a:t>Pal</a:t>
            </a:r>
            <a:r>
              <a:rPr lang="pt-BR" sz="800" dirty="0"/>
              <a:t>/</a:t>
            </a:r>
            <a:r>
              <a:rPr lang="pt-BR" sz="800" dirty="0" err="1"/>
              <a:t>Depal</a:t>
            </a:r>
            <a:r>
              <a:rPr lang="pt-BR" sz="800" dirty="0"/>
              <a:t> </a:t>
            </a:r>
          </a:p>
          <a:p>
            <a:r>
              <a:rPr lang="pt-BR" sz="800" dirty="0"/>
              <a:t>Código do catálogo</a:t>
            </a:r>
            <a:r>
              <a:rPr lang="pt-BR" sz="800"/>
              <a:t>: EOL021</a:t>
            </a:r>
            <a:endParaRPr lang="pt-BR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/>
              <a:t>Reduza o tempo de manutenção com procedimento agilizado de troc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/>
              <a:t>Maior controle da posição da embalagem, sincronização uniforme e melhor controle do tempo e velocidade de entrada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/>
              <a:t>Configuração de dosagem fina graças a novos motores propulsores sem escovas para as correias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/>
              <a:t>A configuração de troca é mais rápida e está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O sistema de dosagem de entrada, originalmente com a esteira de borracha Habasit, é substituído pela nova correia modular MCC e um controle mais preciso com servomotores sem escova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Facilita o acesso à correia e a manutenção: não é preciso desmontar totalmente a esteira nem os rolos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Disponível em IBH, IBP. IBU. IDU, IDV, IEU, IEV, IFU, IGU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8" y="4561714"/>
            <a:ext cx="950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/>
              <a:t>Esteira Habasit</a:t>
            </a:r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8" y="4488804"/>
            <a:ext cx="950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/>
              <a:t>Correia MCC modular</a:t>
            </a:r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Melhorar o desempenho produtiv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1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7:46.0235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